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charts/chart6.xml" ContentType="application/vnd.openxmlformats-officedocument.drawingml.chart+xml"/>
  <Override PartName="/ppt/tags/tag35.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3"/>
  </p:notesMasterIdLst>
  <p:sldIdLst>
    <p:sldId id="2147475135" r:id="rId5"/>
    <p:sldId id="2147475163" r:id="rId6"/>
    <p:sldId id="2147475116" r:id="rId7"/>
    <p:sldId id="2147475137" r:id="rId8"/>
    <p:sldId id="2147475138" r:id="rId9"/>
    <p:sldId id="2147475139" r:id="rId10"/>
    <p:sldId id="2147475140" r:id="rId11"/>
    <p:sldId id="2147475168" r:id="rId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3" d="100"/>
          <a:sy n="103" d="100"/>
        </p:scale>
        <p:origin x="874" y="77"/>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C26EFF1-A239-452E-8245-DB8E6373D8EF}"/>
    <pc:docChg chg="undo custSel modSld addMainMaster delMainMaster modMainMaster">
      <pc:chgData name="Neriman EL HADIDI" userId="4b24840c-84b3-44ac-9131-ca3568cb403b" providerId="ADAL" clId="{AC26EFF1-A239-452E-8245-DB8E6373D8EF}" dt="2024-11-01T08:43:25.104" v="4"/>
      <pc:docMkLst>
        <pc:docMk/>
      </pc:docMkLst>
      <pc:sldChg chg="modSp">
        <pc:chgData name="Neriman EL HADIDI" userId="4b24840c-84b3-44ac-9131-ca3568cb403b" providerId="ADAL" clId="{AC26EFF1-A239-452E-8245-DB8E6373D8EF}" dt="2024-11-01T08:43:25.104" v="4"/>
        <pc:sldMkLst>
          <pc:docMk/>
          <pc:sldMk cId="2010026569" sldId="2147475116"/>
        </pc:sldMkLst>
        <pc:graphicFrameChg chg="mod">
          <ac:chgData name="Neriman EL HADIDI" userId="4b24840c-84b3-44ac-9131-ca3568cb403b" providerId="ADAL" clId="{AC26EFF1-A239-452E-8245-DB8E6373D8EF}" dt="2024-11-01T08:43:25.104" v="4"/>
          <ac:graphicFrameMkLst>
            <pc:docMk/>
            <pc:sldMk cId="2010026569" sldId="2147475116"/>
            <ac:graphicFrameMk id="13" creationId="{0FD720B3-3C7D-426F-B391-AFCECEB9BE0C}"/>
          </ac:graphicFrameMkLst>
        </pc:graphicFrameChg>
      </pc:sldChg>
      <pc:sldMasterChg chg="del">
        <pc:chgData name="Neriman EL HADIDI" userId="4b24840c-84b3-44ac-9131-ca3568cb403b" providerId="ADAL" clId="{AC26EFF1-A239-452E-8245-DB8E6373D8EF}" dt="2024-11-01T08:42:51.844" v="0" actId="2696"/>
        <pc:sldMasterMkLst>
          <pc:docMk/>
          <pc:sldMasterMk cId="823099819" sldId="2147483792"/>
        </pc:sldMasterMkLst>
      </pc:sldMasterChg>
      <pc:sldMasterChg chg="modSp new del mod addSldLayout delSldLayout">
        <pc:chgData name="Neriman EL HADIDI" userId="4b24840c-84b3-44ac-9131-ca3568cb403b" providerId="ADAL" clId="{AC26EFF1-A239-452E-8245-DB8E6373D8EF}" dt="2024-11-01T08:43:00.893" v="3" actId="6938"/>
        <pc:sldMasterMkLst>
          <pc:docMk/>
          <pc:sldMasterMk cId="1973025651" sldId="2147483905"/>
        </pc:sldMasterMkLst>
        <pc:sldLayoutChg chg="new del replId">
          <pc:chgData name="Neriman EL HADIDI" userId="4b24840c-84b3-44ac-9131-ca3568cb403b" providerId="ADAL" clId="{AC26EFF1-A239-452E-8245-DB8E6373D8EF}" dt="2024-11-01T08:43:00.893" v="3" actId="6938"/>
          <pc:sldLayoutMkLst>
            <pc:docMk/>
            <pc:sldMasterMk cId="1973025651" sldId="2147483905"/>
            <pc:sldLayoutMk cId="2938457443" sldId="2147483906"/>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623562" sldId="2147483907"/>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087223447" sldId="2147483908"/>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432085581" sldId="2147483909"/>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725795051" sldId="2147483910"/>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4219938" sldId="2147483911"/>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650394137" sldId="2147483912"/>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141054726" sldId="2147483913"/>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32231769" sldId="2147483914"/>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3283424540" sldId="2147483915"/>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4049326179" sldId="2147483916"/>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B$2:$B$61</c:f>
              <c:numCache>
                <c:formatCode>General</c:formatCode>
                <c:ptCount val="6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C$2:$C$61</c:f>
              <c:numCache>
                <c:formatCode>General</c:formatCode>
                <c:ptCount val="6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Product Sales Rate</c:v>
                </c:pt>
              </c:strCache>
            </c:strRef>
          </c:tx>
          <c:spPr>
            <a:ln w="28575" cap="rnd">
              <a:solidFill>
                <a:srgbClr val="C00000"/>
              </a:solidFill>
              <a:round/>
            </a:ln>
            <a:effectLst/>
          </c:spPr>
          <c:marker>
            <c:symbol val="none"/>
          </c:marker>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D$2:$D$61</c:f>
              <c:numCache>
                <c:formatCode>General</c:formatCode>
                <c:ptCount val="60"/>
                <c:pt idx="0">
                  <c:v>683311.5809428572</c:v>
                </c:pt>
                <c:pt idx="1">
                  <c:v>667471.06878333329</c:v>
                </c:pt>
                <c:pt idx="2">
                  <c:v>571169.00183582096</c:v>
                </c:pt>
                <c:pt idx="3">
                  <c:v>435944.1802083333</c:v>
                </c:pt>
                <c:pt idx="4">
                  <c:v>472043.47221212118</c:v>
                </c:pt>
                <c:pt idx="5">
                  <c:v>403172.80164179101</c:v>
                </c:pt>
                <c:pt idx="6">
                  <c:v>448102.05012068967</c:v>
                </c:pt>
                <c:pt idx="7">
                  <c:v>444366.27177586209</c:v>
                </c:pt>
                <c:pt idx="8">
                  <c:v>396458.51944615378</c:v>
                </c:pt>
                <c:pt idx="9">
                  <c:v>548293.69710638293</c:v>
                </c:pt>
                <c:pt idx="10">
                  <c:v>390451.57218181819</c:v>
                </c:pt>
                <c:pt idx="11">
                  <c:v>1840700.2688571429</c:v>
                </c:pt>
                <c:pt idx="12">
                  <c:v>1982292.597230769</c:v>
                </c:pt>
                <c:pt idx="13">
                  <c:v>2147483.6469999999</c:v>
                </c:pt>
                <c:pt idx="14">
                  <c:v>2342709.4330909089</c:v>
                </c:pt>
                <c:pt idx="15">
                  <c:v>536870.91174999997</c:v>
                </c:pt>
                <c:pt idx="16">
                  <c:v>402653.18381249998</c:v>
                </c:pt>
                <c:pt idx="17">
                  <c:v>452101.82042105269</c:v>
                </c:pt>
                <c:pt idx="18">
                  <c:v>429496.72940000001</c:v>
                </c:pt>
                <c:pt idx="19">
                  <c:v>548293.69710638293</c:v>
                </c:pt>
                <c:pt idx="20">
                  <c:v>422455.79940983612</c:v>
                </c:pt>
                <c:pt idx="21">
                  <c:v>548293.69710638293</c:v>
                </c:pt>
                <c:pt idx="22">
                  <c:v>378967.70241176471</c:v>
                </c:pt>
                <c:pt idx="23">
                  <c:v>678152.73063157895</c:v>
                </c:pt>
                <c:pt idx="24">
                  <c:v>409044.5041904762</c:v>
                </c:pt>
                <c:pt idx="25">
                  <c:v>468541.88661818177</c:v>
                </c:pt>
                <c:pt idx="26">
                  <c:v>858993.45879999991</c:v>
                </c:pt>
                <c:pt idx="27">
                  <c:v>436776.33498305082</c:v>
                </c:pt>
                <c:pt idx="28">
                  <c:v>5153960.7527999999</c:v>
                </c:pt>
                <c:pt idx="29">
                  <c:v>585677.35827272723</c:v>
                </c:pt>
                <c:pt idx="30">
                  <c:v>460175.06721428572</c:v>
                </c:pt>
                <c:pt idx="31">
                  <c:v>402653.18381249998</c:v>
                </c:pt>
                <c:pt idx="32">
                  <c:v>429496.72940000001</c:v>
                </c:pt>
                <c:pt idx="33">
                  <c:v>401025.09182812501</c:v>
                </c:pt>
                <c:pt idx="34">
                  <c:v>419955.21870491811</c:v>
                </c:pt>
                <c:pt idx="35">
                  <c:v>729266.29637142865</c:v>
                </c:pt>
                <c:pt idx="36">
                  <c:v>3607477.813428571</c:v>
                </c:pt>
                <c:pt idx="37">
                  <c:v>716400.65431428573</c:v>
                </c:pt>
                <c:pt idx="38">
                  <c:v>420247.6646779661</c:v>
                </c:pt>
                <c:pt idx="39">
                  <c:v>411607.98921666661</c:v>
                </c:pt>
                <c:pt idx="40">
                  <c:v>402581.21008196718</c:v>
                </c:pt>
                <c:pt idx="41">
                  <c:v>617566.33256410249</c:v>
                </c:pt>
                <c:pt idx="42">
                  <c:v>572219.83076190471</c:v>
                </c:pt>
                <c:pt idx="43">
                  <c:v>559378.56292857148</c:v>
                </c:pt>
                <c:pt idx="44">
                  <c:v>750845.31183870975</c:v>
                </c:pt>
                <c:pt idx="45">
                  <c:v>426388.42070370371</c:v>
                </c:pt>
                <c:pt idx="46">
                  <c:v>389018.17484745762</c:v>
                </c:pt>
                <c:pt idx="47">
                  <c:v>413968.14421818178</c:v>
                </c:pt>
                <c:pt idx="48">
                  <c:v>516160.78883720929</c:v>
                </c:pt>
                <c:pt idx="49">
                  <c:v>368618.79038333328</c:v>
                </c:pt>
                <c:pt idx="50">
                  <c:v>363980.27913559321</c:v>
                </c:pt>
                <c:pt idx="51">
                  <c:v>335544.31982812501</c:v>
                </c:pt>
                <c:pt idx="52">
                  <c:v>320519.9472985075</c:v>
                </c:pt>
                <c:pt idx="53">
                  <c:v>325376.31013636361</c:v>
                </c:pt>
                <c:pt idx="54">
                  <c:v>363980.27913559321</c:v>
                </c:pt>
                <c:pt idx="55">
                  <c:v>325376.31004545459</c:v>
                </c:pt>
                <c:pt idx="56">
                  <c:v>1522163.081</c:v>
                </c:pt>
                <c:pt idx="57">
                  <c:v>624144.62864705885</c:v>
                </c:pt>
                <c:pt idx="58">
                  <c:v>2339831.1108888891</c:v>
                </c:pt>
                <c:pt idx="59">
                  <c:v>350887.8925593221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45DF8A1F-0180-4139-845A-DA7D2C19A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5763B2A-2299-4A7D-9A2B-18CCD7580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39BA43F-8FD8-4014-8E8A-76944E41C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3A47F19A-E1E2-4540-A784-AF544FE86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FA2EA09B-A511-4DA2-B93C-76D9543C5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EF968917-3FE3-4C2A-872D-3797B6FEA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0F298954-7AE6-408B-8DA0-7036F6E029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944CFB0-4642-4671-91CB-2DA291129D6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71A4E6B1-A0E9-4995-83A6-C8747D11D0E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FBE32599-EF03-4AD1-B409-4A4594E88B5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82BF86B-758D-42A2-8799-E8B41867612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B11CCB15-0791-4476-9682-1E601702C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6DA3F5D-EC17-4A6D-B244-332B1120CCE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25859F3E-7DFB-42BE-963E-66F7EE8F8C0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5B55ED80-48A9-4A79-B9A3-352666A5CC28}"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86A21859-220D-403D-B6AC-10D828A184F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023E4A15-7B05-413C-B508-6E30F6CCE99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7/2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7/2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7/2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7/2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7/2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7/2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7/2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7/2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7/2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7/2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7/21/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7/21/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7/21/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000003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7/21/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r>
              <a:rPr lang="en-US"/>
              <a:t>Top 50% cumulative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01002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7/21/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677870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7/21/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7/21/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08773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7/21/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744046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7/21/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988904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TotalTime>
  <Words>860</Words>
  <Application>Microsoft Office PowerPoint</Application>
  <PresentationFormat>On-screen Show (16:9)</PresentationFormat>
  <Paragraphs>281</Paragraphs>
  <Slides>8</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Cumulative Product Share (Replace With SO WHAT)</vt:lpstr>
      <vt:lpstr>Top 50% cumulative share (Replace With SO WHAT)</vt:lpstr>
      <vt:lpstr>Brand Cumulative Product Share (Replace With SO WHAT)</vt:lpstr>
      <vt:lpstr>Top 20 cumulative share (Replace With SO WHAT)</vt:lpstr>
      <vt:lpstr>SKU Productivity Analysis with TM% (Replace with So What)</vt:lpstr>
      <vt:lpstr>SKU Productivity Analysis with WD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Yomna ABDULLATIF</cp:lastModifiedBy>
  <cp:revision>20</cp:revision>
  <dcterms:created xsi:type="dcterms:W3CDTF">2024-07-05T14:32:36Z</dcterms:created>
  <dcterms:modified xsi:type="dcterms:W3CDTF">2025-07-21T09:4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